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5" r:id="rId1"/>
  </p:sldMasterIdLst>
  <p:notesMasterIdLst>
    <p:notesMasterId r:id="rId11"/>
  </p:notesMasterIdLst>
  <p:handoutMasterIdLst>
    <p:handoutMasterId r:id="rId12"/>
  </p:handoutMasterIdLst>
  <p:sldIdLst>
    <p:sldId id="258" r:id="rId2"/>
    <p:sldId id="260" r:id="rId3"/>
    <p:sldId id="259" r:id="rId4"/>
    <p:sldId id="261" r:id="rId5"/>
    <p:sldId id="262" r:id="rId6"/>
    <p:sldId id="263" r:id="rId7"/>
    <p:sldId id="264" r:id="rId8"/>
    <p:sldId id="265" r:id="rId9"/>
    <p:sldId id="266" r:id="rId10"/>
  </p:sldIdLst>
  <p:sldSz cx="18288000" cy="10287000"/>
  <p:notesSz cx="6858000" cy="9144000"/>
  <p:embeddedFontLst>
    <p:embeddedFont>
      <p:font typeface="Consolas" panose="020B0609020204030204" pitchFamily="49" charset="0"/>
      <p:regular r:id="rId13"/>
      <p:bold r:id="rId14"/>
      <p:italic r:id="rId15"/>
      <p:boldItalic r:id="rId16"/>
    </p:embeddedFont>
    <p:embeddedFont>
      <p:font typeface="Gill Sans MT" panose="020B0502020104020203" pitchFamily="34" charset="0"/>
      <p:regular r:id="rId17"/>
      <p:bold r:id="rId18"/>
      <p:italic r:id="rId19"/>
      <p:boldItalic r:id="rId20"/>
    </p:embeddedFont>
    <p:embeddedFont>
      <p:font typeface="Raleway" pitchFamily="2" charset="0"/>
      <p:regular r:id="rId21"/>
      <p:bold r:id="rId22"/>
      <p:italic r:id="rId23"/>
      <p:boldItalic r:id="rId24"/>
    </p:embeddedFont>
    <p:embeddedFont>
      <p:font typeface="Roboto Light" panose="02000000000000000000" pitchFamily="2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29"/>
    <p:restoredTop sz="94789"/>
  </p:normalViewPr>
  <p:slideViewPr>
    <p:cSldViewPr snapToGrid="0">
      <p:cViewPr varScale="1">
        <p:scale>
          <a:sx n="103" d="100"/>
          <a:sy n="103" d="100"/>
        </p:scale>
        <p:origin x="3018" y="126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22" d="100"/>
          <a:sy n="122" d="100"/>
        </p:scale>
        <p:origin x="168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font" Target="fonts/font14.fntdata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2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font" Target="fonts/font16.fntdata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font" Target="fonts/font15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ECCC9428-C059-89D7-3520-EAD5490223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E80C46C-91A0-12B5-5016-D0A52639BF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CD0C15-18CB-474D-9630-BE8E615D1625}" type="datetimeFigureOut">
              <a:rPr lang="es-ES" smtClean="0"/>
              <a:t>08/04/2024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A65EA54-3F03-4C48-06E4-C2E9948667A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B163771-43DF-6B17-8B49-45E2C82411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B5E9EF-C774-4B43-A815-B56BED46101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306952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hf sldNum="0" hdr="0" ft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6669" y="1203448"/>
            <a:ext cx="12955610" cy="3812147"/>
          </a:xfrm>
        </p:spPr>
        <p:txBody>
          <a:bodyPr bIns="0" anchor="b">
            <a:normAutofit/>
          </a:bodyPr>
          <a:lstStyle>
            <a:lvl1pPr algn="l">
              <a:defRPr sz="99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26670" y="5296807"/>
            <a:ext cx="12955608" cy="1466432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2700" b="0" cap="all" baseline="0">
                <a:solidFill>
                  <a:schemeClr val="tx1"/>
                </a:solidFill>
              </a:defRPr>
            </a:lvl1pPr>
            <a:lvl2pPr marL="685800" indent="0" algn="ctr">
              <a:buNone/>
              <a:defRPr sz="27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624751" y="493961"/>
            <a:ext cx="7460873" cy="46380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156497" y="1198460"/>
            <a:ext cx="1216529" cy="755367"/>
          </a:xfrm>
        </p:spPr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626670" y="5292813"/>
            <a:ext cx="12955608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115710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2180844" y="2770632"/>
            <a:ext cx="1441128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7520742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158667" y="1198460"/>
            <a:ext cx="2423613" cy="6989834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67008" y="1198460"/>
            <a:ext cx="11743245" cy="6989834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158667" y="1198460"/>
            <a:ext cx="0" cy="6989834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491323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userDrawn="1">
  <p:cSld name="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08939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5985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userDrawn="1">
  <p:cSld name="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8718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2180844" y="2770632"/>
            <a:ext cx="1441128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938178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359" y="2634195"/>
            <a:ext cx="12964731" cy="2831925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1359" y="5709293"/>
            <a:ext cx="12945669" cy="1519394"/>
          </a:xfrm>
        </p:spPr>
        <p:txBody>
          <a:bodyPr tIns="91440">
            <a:normAutofit/>
          </a:bodyPr>
          <a:lstStyle>
            <a:lvl1pPr marL="0" indent="0" algn="l">
              <a:buNone/>
              <a:defRPr sz="2700">
                <a:solidFill>
                  <a:schemeClr val="tx1"/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181359" y="5707478"/>
            <a:ext cx="12945669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4600584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3826" y="1207334"/>
            <a:ext cx="14408453" cy="15889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70997" y="3016318"/>
            <a:ext cx="6967728" cy="517289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620657" y="3026015"/>
            <a:ext cx="6967728" cy="516228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2180844" y="2770632"/>
            <a:ext cx="1441128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536873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0787" y="1206245"/>
            <a:ext cx="14411492" cy="15844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70787" y="3029324"/>
            <a:ext cx="6967728" cy="1202915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3300" b="0" cap="all" baseline="0">
                <a:solidFill>
                  <a:schemeClr val="accent1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70787" y="4236404"/>
            <a:ext cx="6967728" cy="396668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618543" y="3034505"/>
            <a:ext cx="6967728" cy="1203356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3300" b="0" cap="all" baseline="0">
                <a:solidFill>
                  <a:schemeClr val="accent1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618543" y="4232237"/>
            <a:ext cx="6967728" cy="3956057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2180844" y="2770632"/>
            <a:ext cx="1441128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29559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2180844" y="2770632"/>
            <a:ext cx="1441128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283502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47418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007" y="1198460"/>
            <a:ext cx="4909649" cy="3370676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65571" y="1198461"/>
            <a:ext cx="9018705" cy="6988239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67007" y="4808237"/>
            <a:ext cx="4912520" cy="3372272"/>
          </a:xfrm>
        </p:spPr>
        <p:txBody>
          <a:bodyPr/>
          <a:lstStyle>
            <a:lvl1pPr marL="0" indent="0" algn="l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2172420" y="4808237"/>
            <a:ext cx="4904235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693281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11216081" y="723256"/>
            <a:ext cx="6111800" cy="7723652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6809" y="1694270"/>
            <a:ext cx="8298492" cy="2745876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186584" y="1683814"/>
            <a:ext cx="4186757" cy="5799491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75494" y="4718988"/>
            <a:ext cx="8286606" cy="3005613"/>
          </a:xfrm>
        </p:spPr>
        <p:txBody>
          <a:bodyPr>
            <a:normAutofit/>
          </a:bodyPr>
          <a:lstStyle>
            <a:lvl1pPr marL="0" indent="0" algn="l">
              <a:buNone/>
              <a:defRPr sz="27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171074" y="8204785"/>
            <a:ext cx="8291027" cy="480185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4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71073" y="477961"/>
            <a:ext cx="8311506" cy="48139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2171074" y="4715408"/>
            <a:ext cx="8291027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057606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029215"/>
            <a:ext cx="18288000" cy="6158912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9189720"/>
            <a:ext cx="18288000" cy="11144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77369" y="1206779"/>
            <a:ext cx="14404913" cy="15738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77369" y="3023599"/>
            <a:ext cx="14404913" cy="51759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331208" y="495555"/>
            <a:ext cx="5251073" cy="4638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4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77369" y="493961"/>
            <a:ext cx="8908254" cy="4638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91" y="1198460"/>
            <a:ext cx="1216529" cy="75536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42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Nº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9192620"/>
            <a:ext cx="18288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AD2FBB2-62D1-87D4-79AC-D60E4A6CC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95" imgH="394" progId="TCLayout.ActiveDocument.1">
                  <p:embed/>
                </p:oleObj>
              </mc:Choice>
              <mc:Fallback>
                <p:oleObj name="think-cell Slide" r:id="rId3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">
            <a:extLst>
              <a:ext uri="{FF2B5EF4-FFF2-40B4-BE49-F238E27FC236}">
                <a16:creationId xmlns:a16="http://schemas.microsoft.com/office/drawing/2014/main" id="{1D1FD8E7-E6DD-3DA7-6B3C-AB47ECC63747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  <p:extLst>
      <p:ext uri="{BB962C8B-B14F-4D97-AF65-F5344CB8AC3E}">
        <p14:creationId xmlns:p14="http://schemas.microsoft.com/office/powerpoint/2010/main" val="402095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70" r:id="rId15"/>
    <p:sldLayoutId id="2147483663" r:id="rId16"/>
    <p:sldLayoutId id="2147483673" r:id="rId17"/>
    <p:sldLayoutId id="2147483666" r:id="rId18"/>
    <p:sldLayoutId id="2147483662" r:id="rId19"/>
    <p:sldLayoutId id="2147483664" r:id="rId20"/>
    <p:sldLayoutId id="2147483657" r:id="rId21"/>
    <p:sldLayoutId id="2147483665" r:id="rId22"/>
    <p:sldLayoutId id="2147483674" r:id="rId23"/>
    <p:sldLayoutId id="2147483658" r:id="rId24"/>
    <p:sldLayoutId id="2147483655" r:id="rId25"/>
    <p:sldLayoutId id="2147483659" r:id="rId26"/>
    <p:sldLayoutId id="2147483656" r:id="rId27"/>
    <p:sldLayoutId id="2147483668" r:id="rId28"/>
    <p:sldLayoutId id="2147483669" r:id="rId29"/>
    <p:sldLayoutId id="2147483672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48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120000"/>
        </a:lnSpc>
        <a:spcBef>
          <a:spcPts val="1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7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1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55" userDrawn="1">
          <p15:clr>
            <a:srgbClr val="E46962"/>
          </p15:clr>
        </p15:guide>
        <p15:guide id="2" pos="7710" userDrawn="1">
          <p15:clr>
            <a:srgbClr val="E46962"/>
          </p15:clr>
        </p15:guide>
        <p15:guide id="3" orient="horz" pos="2160" userDrawn="1">
          <p15:clr>
            <a:srgbClr val="E46962"/>
          </p15:clr>
        </p15:guide>
        <p15:guide id="4" orient="horz" pos="4310" userDrawn="1">
          <p15:clr>
            <a:srgbClr val="E46962"/>
          </p15:clr>
        </p15:guide>
        <p15:guide id="5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turned-on-gray-laptop-computer-XJXWbfSo2f0?utm_source=smart%20slides&amp;utm_medium=referral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jpg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lucabravo?utm_source=smart%20slides&amp;utm_medium=referra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?utm_source=smart%20slides&amp;utm_medium=referral" TargetMode="Externa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?utm_source=smart%20slides&amp;utm_medium=referral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?utm_source=smart%20slides&amp;utm_medium=referral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?utm_source=smart%20slides&amp;utm_medium=referral" TargetMode="Externa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?utm_source=smart%20slides&amp;utm_medium=referral" TargetMode="Externa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turned-on-macbook-air-on-desk-iOykDIkZLQw?utm_source=smart%20slides&amp;utm_medium=referral" TargetMode="External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goran_ivos?utm_source=smart%20slides&amp;utm_medium=referra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XJXWbfSo2f0.jpg" hidden="1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75" y="3390901"/>
            <a:ext cx="7310525" cy="6210300"/>
          </a:xfrm>
        </p:spPr>
        <p:txBody>
          <a:bodyPr>
            <a:normAutofit fontScale="92500"/>
          </a:bodyPr>
          <a:lstStyle/>
          <a:p>
            <a:pPr algn="just">
              <a:defRPr sz="2400">
                <a:latin typeface="Calibri"/>
              </a:defRPr>
            </a:pPr>
            <a:r>
              <a:rPr dirty="0"/>
              <a:t>Breve </a:t>
            </a:r>
            <a:r>
              <a:rPr lang="es-CO" dirty="0"/>
              <a:t>historia</a:t>
            </a:r>
            <a:r>
              <a:rPr dirty="0"/>
              <a:t> del </a:t>
            </a:r>
            <a:r>
              <a:rPr dirty="0" err="1"/>
              <a:t>juego</a:t>
            </a:r>
            <a:r>
              <a:rPr dirty="0"/>
              <a:t> '</a:t>
            </a:r>
            <a:r>
              <a:rPr dirty="0" err="1"/>
              <a:t>Hundir</a:t>
            </a:r>
            <a:r>
              <a:rPr dirty="0"/>
              <a:t> la </a:t>
            </a:r>
            <a:r>
              <a:rPr dirty="0" err="1"/>
              <a:t>flota</a:t>
            </a:r>
            <a:r>
              <a:rPr dirty="0"/>
              <a:t>’.</a:t>
            </a:r>
            <a:endParaRPr lang="es-CO" dirty="0"/>
          </a:p>
          <a:p>
            <a:pPr marL="76200" indent="0" algn="just">
              <a:buNone/>
              <a:defRPr sz="2400">
                <a:latin typeface="Calibri"/>
              </a:defRPr>
            </a:pPr>
            <a:br>
              <a:rPr lang="es-ES" dirty="0"/>
            </a:br>
            <a:r>
              <a:rPr lang="es-ES" dirty="0"/>
              <a:t>- Originado como un juego de lápiz y papel a principios del siglo XX. 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ES" dirty="0"/>
              <a:t>-Comercializado por Milton Bradley (</a:t>
            </a:r>
            <a:r>
              <a:rPr lang="es-ES" dirty="0" err="1"/>
              <a:t>Hasbro</a:t>
            </a:r>
            <a:r>
              <a:rPr lang="es-ES" dirty="0"/>
              <a:t>) en 1967, convirtiéndose en un clásico juego de tablero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ES" dirty="0"/>
              <a:t>- Evolución y Versiones Electrónicas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ES" dirty="0"/>
              <a:t>- Impacto Cultural: Película de acción de Hollywood en 2012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endParaRPr lang="es-ES" dirty="0"/>
          </a:p>
          <a:p>
            <a:pPr algn="just">
              <a:defRPr sz="2400">
                <a:latin typeface="Calibri"/>
              </a:defRPr>
            </a:pPr>
            <a:r>
              <a:rPr dirty="0" err="1"/>
              <a:t>Objetivo</a:t>
            </a:r>
            <a:r>
              <a:rPr dirty="0"/>
              <a:t> de la </a:t>
            </a:r>
            <a:r>
              <a:rPr dirty="0" err="1"/>
              <a:t>presentación</a:t>
            </a:r>
            <a:r>
              <a:rPr dirty="0"/>
              <a:t>.</a:t>
            </a:r>
            <a:endParaRPr lang="es-CO" dirty="0"/>
          </a:p>
          <a:p>
            <a:pPr marL="76200" indent="0" algn="just">
              <a:buNone/>
              <a:defRPr sz="2400">
                <a:latin typeface="Calibri"/>
              </a:defRPr>
            </a:pPr>
            <a:endParaRPr lang="es-CO" dirty="0"/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CO" sz="2000" dirty="0"/>
              <a:t>- Crear un juego bajo los parámetros del </a:t>
            </a:r>
            <a:r>
              <a:rPr lang="es-CO" sz="2000" dirty="0" err="1"/>
              <a:t>Bootcamp</a:t>
            </a:r>
            <a:r>
              <a:rPr lang="es-CO" sz="2000" dirty="0"/>
              <a:t>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CO" sz="2000" dirty="0"/>
              <a:t>- Implementación del código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CO" sz="2000" dirty="0"/>
              <a:t>- Presentación de las funciones y sus acciones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CO" sz="2000" dirty="0"/>
              <a:t>- Algunas estrategias puestas en marcha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dirty="0" err="1"/>
              <a:t>Introducción</a:t>
            </a:r>
            <a:endParaRPr dirty="0"/>
          </a:p>
        </p:txBody>
      </p:sp>
      <p:sp>
        <p:nvSpPr>
          <p:cNvPr id="6" name="Content Placeholder 5" hidden="1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40000" lnSpcReduction="20000"/>
          </a:bodyPr>
          <a:lstStyle/>
          <a:p>
            <a:r>
              <a:rPr>
                <a:hlinkClick r:id="rId3"/>
              </a:rPr>
              <a:t>Photo: turned on gray laptop computer</a:t>
            </a:r>
          </a:p>
          <a:p>
            <a:r>
              <a:rPr>
                <a:hlinkClick r:id="rId4"/>
              </a:rPr>
              <a:t>Photo by Luca Bravo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56688FF0-D987-AAE8-6CA1-5747A22963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38747" y="2120901"/>
            <a:ext cx="9678844" cy="546099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oXlXu2qukGE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defRPr sz="2400">
                <a:latin typeface="Calibri"/>
              </a:defRPr>
            </a:pPr>
            <a:r>
              <a:rPr dirty="0" err="1"/>
              <a:t>Explicación</a:t>
            </a:r>
            <a:r>
              <a:rPr dirty="0"/>
              <a:t> general de la </a:t>
            </a:r>
            <a:r>
              <a:rPr dirty="0" err="1"/>
              <a:t>estructura</a:t>
            </a:r>
            <a:r>
              <a:rPr dirty="0"/>
              <a:t>.</a:t>
            </a:r>
            <a:endParaRPr lang="es-CO" dirty="0"/>
          </a:p>
          <a:p>
            <a:pPr marL="76200" indent="0" algn="just">
              <a:buNone/>
              <a:defRPr sz="2400">
                <a:latin typeface="Calibri"/>
              </a:defRPr>
            </a:pPr>
            <a:r>
              <a:rPr lang="es-CO" dirty="0"/>
              <a:t>Va a existir dos competidores, uno que es el Jugador 1(Persona) y Jugador 2 (La máquina)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endParaRPr lang="es-CO" dirty="0"/>
          </a:p>
          <a:p>
            <a:pPr marL="76200" indent="0" algn="just">
              <a:lnSpc>
                <a:spcPct val="150000"/>
              </a:lnSpc>
              <a:buNone/>
              <a:defRPr sz="2400">
                <a:latin typeface="Calibri"/>
              </a:defRPr>
            </a:pPr>
            <a:r>
              <a:rPr lang="es-CO" u="sng" dirty="0"/>
              <a:t>Paso1:</a:t>
            </a:r>
          </a:p>
          <a:p>
            <a:pPr marL="76200" indent="0" algn="just">
              <a:lnSpc>
                <a:spcPct val="150000"/>
              </a:lnSpc>
              <a:buNone/>
              <a:defRPr sz="2400">
                <a:latin typeface="Calibri"/>
              </a:defRPr>
            </a:pPr>
            <a:r>
              <a:rPr lang="es-CO" dirty="0"/>
              <a:t>Crear las funciones con su respectivo código.</a:t>
            </a:r>
          </a:p>
          <a:p>
            <a:pPr marL="76200" indent="0" algn="just">
              <a:lnSpc>
                <a:spcPct val="150000"/>
              </a:lnSpc>
              <a:buNone/>
              <a:defRPr sz="2400">
                <a:latin typeface="Calibri"/>
              </a:defRPr>
            </a:pPr>
            <a:r>
              <a:rPr lang="es-CO" u="sng" dirty="0"/>
              <a:t>Paso2:</a:t>
            </a:r>
          </a:p>
          <a:p>
            <a:pPr marL="76200" indent="0" algn="just">
              <a:lnSpc>
                <a:spcPct val="150000"/>
              </a:lnSpc>
              <a:buNone/>
              <a:defRPr sz="2400">
                <a:latin typeface="Calibri"/>
              </a:defRPr>
            </a:pPr>
            <a:r>
              <a:rPr lang="es-CO" dirty="0"/>
              <a:t>Invocar las funciones para un juego práctico.</a:t>
            </a:r>
          </a:p>
          <a:p>
            <a:pPr marL="76200" indent="0" algn="just">
              <a:lnSpc>
                <a:spcPct val="150000"/>
              </a:lnSpc>
              <a:buNone/>
              <a:defRPr sz="2400">
                <a:latin typeface="Calibri"/>
              </a:defRPr>
            </a:pPr>
            <a:r>
              <a:rPr lang="es-CO" u="sng" dirty="0"/>
              <a:t>Paso 3:</a:t>
            </a:r>
          </a:p>
          <a:p>
            <a:pPr marL="76200" indent="0" algn="just">
              <a:lnSpc>
                <a:spcPct val="150000"/>
              </a:lnSpc>
              <a:buNone/>
              <a:defRPr sz="2400">
                <a:latin typeface="Calibri"/>
              </a:defRPr>
            </a:pPr>
            <a:r>
              <a:rPr lang="es-CO" dirty="0"/>
              <a:t>Jugar una partida con script dinámico.</a:t>
            </a: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t>Estructura del Código</a:t>
            </a:r>
          </a:p>
        </p:txBody>
      </p:sp>
      <p:sp>
        <p:nvSpPr>
          <p:cNvPr id="6" name="Content Placeholder 5" hidden="1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endParaRPr dirty="0">
              <a:hlinkClick r:id="rId3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PNbDkQ2DDgM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12500" b="1250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400">
                <a:latin typeface="Calibri"/>
              </a:defRPr>
            </a:pPr>
            <a:r>
              <a:rPr lang="es-CO" dirty="0" err="1"/>
              <a:t>Numpy</a:t>
            </a:r>
            <a:endParaRPr dirty="0"/>
          </a:p>
          <a:p>
            <a:pPr>
              <a:defRPr sz="2400">
                <a:latin typeface="Calibri"/>
              </a:defRPr>
            </a:pPr>
            <a:r>
              <a:rPr lang="es-CO" dirty="0"/>
              <a:t>Para darle color al texto “</a:t>
            </a:r>
            <a:r>
              <a:rPr lang="es-CO" dirty="0" err="1"/>
              <a:t>Colorama</a:t>
            </a:r>
            <a:r>
              <a:rPr lang="es-CO" dirty="0"/>
              <a:t>”</a:t>
            </a:r>
            <a:r>
              <a:rPr dirty="0"/>
              <a:t>.</a:t>
            </a:r>
          </a:p>
          <a:p>
            <a:pPr>
              <a:defRPr sz="2400">
                <a:latin typeface="Calibri"/>
              </a:defRPr>
            </a:pPr>
            <a:r>
              <a:rPr lang="es-CO" dirty="0"/>
              <a:t>Módulo time para darle lapso de tiempo a las ejecuciones que lo necesiten.</a:t>
            </a: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CO" dirty="0"/>
              <a:t>Librería y módulos </a:t>
            </a:r>
            <a:r>
              <a:rPr dirty="0" err="1"/>
              <a:t>Utilizad</a:t>
            </a:r>
            <a:r>
              <a:rPr lang="es-CO" dirty="0"/>
              <a:t>o</a:t>
            </a:r>
            <a:r>
              <a:rPr dirty="0"/>
              <a:t>s</a:t>
            </a:r>
          </a:p>
        </p:txBody>
      </p:sp>
      <p:sp>
        <p:nvSpPr>
          <p:cNvPr id="6" name="Content Placeholder 5" hidden="1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endParaRPr dirty="0">
              <a:hlinkClick r:id="rId3"/>
            </a:endParaRPr>
          </a:p>
        </p:txBody>
      </p:sp>
      <p:pic>
        <p:nvPicPr>
          <p:cNvPr id="9" name="Marcador de contenido 8">
            <a:extLst>
              <a:ext uri="{FF2B5EF4-FFF2-40B4-BE49-F238E27FC236}">
                <a16:creationId xmlns:a16="http://schemas.microsoft.com/office/drawing/2014/main" id="{14176D31-B6B2-EB7C-3184-3E199E4206B6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4"/>
          <a:srcRect r="25993"/>
          <a:stretch/>
        </p:blipFill>
        <p:spPr>
          <a:xfrm>
            <a:off x="9466177" y="6061003"/>
            <a:ext cx="8491624" cy="1962223"/>
          </a:xfrm>
          <a:solidFill>
            <a:srgbClr val="007BFF"/>
          </a:solidFill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FJ5e_2f96h4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12500" b="1250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38848" y="2127817"/>
            <a:ext cx="7489429" cy="874758"/>
          </a:xfrm>
        </p:spPr>
        <p:txBody>
          <a:bodyPr>
            <a:normAutofit lnSpcReduction="10000"/>
          </a:bodyPr>
          <a:lstStyle/>
          <a:p>
            <a:pPr>
              <a:defRPr sz="2400">
                <a:latin typeface="Calibri"/>
              </a:defRPr>
            </a:pPr>
            <a:r>
              <a:rPr sz="2000" dirty="0" err="1"/>
              <a:t>Uso</a:t>
            </a:r>
            <a:r>
              <a:rPr sz="2000" dirty="0"/>
              <a:t> de NumPy para </a:t>
            </a:r>
            <a:r>
              <a:rPr sz="2000" dirty="0" err="1"/>
              <a:t>el</a:t>
            </a:r>
            <a:r>
              <a:rPr sz="2000" dirty="0"/>
              <a:t> </a:t>
            </a:r>
            <a:r>
              <a:rPr sz="2000" dirty="0" err="1"/>
              <a:t>tablero</a:t>
            </a:r>
            <a:r>
              <a:rPr lang="es-CO" sz="2000" dirty="0"/>
              <a:t> de 10x10</a:t>
            </a:r>
            <a:r>
              <a:rPr sz="2000" dirty="0"/>
              <a:t>.</a:t>
            </a:r>
          </a:p>
          <a:p>
            <a:pPr>
              <a:defRPr sz="2400">
                <a:latin typeface="Calibri"/>
              </a:defRPr>
            </a:pPr>
            <a:r>
              <a:rPr sz="2000" dirty="0" err="1"/>
              <a:t>Visualización</a:t>
            </a:r>
            <a:r>
              <a:rPr sz="2000" dirty="0"/>
              <a:t> del </a:t>
            </a:r>
            <a:r>
              <a:rPr sz="2000" dirty="0" err="1"/>
              <a:t>tablero</a:t>
            </a:r>
            <a:r>
              <a:rPr sz="2000" dirty="0"/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38850" y="513848"/>
            <a:ext cx="7489429" cy="669926"/>
          </a:xfrm>
        </p:spPr>
        <p:txBody>
          <a:bodyPr>
            <a:normAutofit fontScale="90000"/>
          </a:bodyPr>
          <a:lstStyle/>
          <a:p>
            <a:pPr algn="ctr"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CO" u="sng" dirty="0"/>
              <a:t>Paso 1: </a:t>
            </a:r>
            <a:r>
              <a:rPr u="sng" dirty="0" err="1"/>
              <a:t>Creación</a:t>
            </a:r>
            <a:r>
              <a:rPr u="sng" dirty="0"/>
              <a:t> </a:t>
            </a:r>
            <a:r>
              <a:rPr lang="es-CO" u="sng" dirty="0"/>
              <a:t>de las Funciones</a:t>
            </a:r>
            <a:br>
              <a:rPr lang="es-CO" u="sng" dirty="0"/>
            </a:br>
            <a:br>
              <a:rPr lang="es-CO" u="sng" dirty="0"/>
            </a:br>
            <a:endParaRPr u="sng" dirty="0"/>
          </a:p>
        </p:txBody>
      </p:sp>
      <p:sp>
        <p:nvSpPr>
          <p:cNvPr id="6" name="Content Placeholder 5" hidden="1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endParaRPr dirty="0">
              <a:hlinkClick r:id="rId3"/>
            </a:endParaRPr>
          </a:p>
        </p:txBody>
      </p:sp>
      <p:sp>
        <p:nvSpPr>
          <p:cNvPr id="13" name="Marcador de contenido 12">
            <a:extLst>
              <a:ext uri="{FF2B5EF4-FFF2-40B4-BE49-F238E27FC236}">
                <a16:creationId xmlns:a16="http://schemas.microsoft.com/office/drawing/2014/main" id="{41FDCB6C-3A7D-C157-A809-150C5939A96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6CC26266-9BFC-940C-593F-697B8A180B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300" y="1679574"/>
            <a:ext cx="7766197" cy="144467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223C15DE-C955-2AEB-955C-9EDB0323DD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021" y="4221067"/>
            <a:ext cx="7871475" cy="1444674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30D5DA03-BAC9-FEB9-27FF-BD058A82E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021" y="6856507"/>
            <a:ext cx="8118979" cy="2448267"/>
          </a:xfrm>
          <a:prstGeom prst="rect">
            <a:avLst/>
          </a:prstGeom>
        </p:spPr>
      </p:pic>
      <p:sp>
        <p:nvSpPr>
          <p:cNvPr id="18" name="Title 3">
            <a:extLst>
              <a:ext uri="{FF2B5EF4-FFF2-40B4-BE49-F238E27FC236}">
                <a16:creationId xmlns:a16="http://schemas.microsoft.com/office/drawing/2014/main" id="{3B60D62A-3DD2-F048-A568-985E5DF42F15}"/>
              </a:ext>
            </a:extLst>
          </p:cNvPr>
          <p:cNvSpPr txBox="1">
            <a:spLocks/>
          </p:cNvSpPr>
          <p:nvPr/>
        </p:nvSpPr>
        <p:spPr>
          <a:xfrm>
            <a:off x="9838849" y="1679574"/>
            <a:ext cx="7489429" cy="669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ES" sz="2000" dirty="0">
                <a:solidFill>
                  <a:srgbClr val="007BFF"/>
                </a:solidFill>
                <a:latin typeface="Calibri"/>
              </a:rPr>
              <a:t>Creación de los Tableros</a:t>
            </a:r>
            <a:br>
              <a:rPr lang="es-ES" sz="2000" dirty="0">
                <a:solidFill>
                  <a:srgbClr val="007BFF"/>
                </a:solidFill>
                <a:latin typeface="Calibri"/>
              </a:rPr>
            </a:br>
            <a:endParaRPr lang="es-ES" sz="2000" dirty="0">
              <a:solidFill>
                <a:srgbClr val="007BFF"/>
              </a:solidFill>
              <a:latin typeface="Calibri"/>
            </a:endParaRP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57804D7D-3277-2FFE-48B9-13825118313E}"/>
              </a:ext>
            </a:extLst>
          </p:cNvPr>
          <p:cNvSpPr txBox="1">
            <a:spLocks/>
          </p:cNvSpPr>
          <p:nvPr/>
        </p:nvSpPr>
        <p:spPr>
          <a:xfrm>
            <a:off x="9838848" y="3946618"/>
            <a:ext cx="7489429" cy="669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 fontScale="6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ES" sz="3200" dirty="0">
                <a:solidFill>
                  <a:srgbClr val="007BFF"/>
                </a:solidFill>
                <a:latin typeface="Calibri"/>
              </a:rPr>
              <a:t>Creación de las flotas</a:t>
            </a:r>
            <a:br>
              <a:rPr lang="es-ES" sz="3200" dirty="0">
                <a:solidFill>
                  <a:srgbClr val="007BFF"/>
                </a:solidFill>
                <a:latin typeface="Calibri"/>
              </a:rPr>
            </a:br>
            <a:endParaRPr lang="es-ES" sz="3200" dirty="0">
              <a:solidFill>
                <a:srgbClr val="007BFF"/>
              </a:solidFill>
              <a:latin typeface="Calibri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E1F0355E-8973-15B6-7EE4-BFF9EC25F334}"/>
              </a:ext>
            </a:extLst>
          </p:cNvPr>
          <p:cNvSpPr txBox="1">
            <a:spLocks/>
          </p:cNvSpPr>
          <p:nvPr/>
        </p:nvSpPr>
        <p:spPr>
          <a:xfrm>
            <a:off x="9838848" y="6756400"/>
            <a:ext cx="7489429" cy="669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 fontScale="6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ES" sz="3200" dirty="0">
                <a:solidFill>
                  <a:srgbClr val="007BFF"/>
                </a:solidFill>
                <a:latin typeface="Calibri"/>
              </a:rPr>
              <a:t>Vidas por jugador</a:t>
            </a:r>
            <a:br>
              <a:rPr lang="es-ES" sz="3200" dirty="0">
                <a:solidFill>
                  <a:srgbClr val="007BFF"/>
                </a:solidFill>
                <a:latin typeface="Calibri"/>
              </a:rPr>
            </a:br>
            <a:endParaRPr lang="es-ES" sz="3200" dirty="0">
              <a:solidFill>
                <a:srgbClr val="007BFF"/>
              </a:solidFill>
              <a:latin typeface="Calibri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691CDB9-979A-CADE-974F-84B8E0FC31BA}"/>
              </a:ext>
            </a:extLst>
          </p:cNvPr>
          <p:cNvSpPr txBox="1">
            <a:spLocks/>
          </p:cNvSpPr>
          <p:nvPr/>
        </p:nvSpPr>
        <p:spPr>
          <a:xfrm>
            <a:off x="9757629" y="4360546"/>
            <a:ext cx="7489429" cy="1837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just">
              <a:defRPr sz="2400">
                <a:latin typeface="Calibri"/>
              </a:defRPr>
            </a:pPr>
            <a:r>
              <a:rPr lang="es-ES" sz="2000" dirty="0">
                <a:latin typeface="Calibri"/>
              </a:rPr>
              <a:t>Los barcos los creamos a través de un diccionario.</a:t>
            </a:r>
          </a:p>
          <a:p>
            <a:pPr algn="just">
              <a:defRPr sz="2400">
                <a:latin typeface="Calibri"/>
              </a:defRPr>
            </a:pPr>
            <a:r>
              <a:rPr lang="es-ES" sz="2000" dirty="0">
                <a:latin typeface="Calibri"/>
              </a:rPr>
              <a:t>En total cada jugador inicia con 10 barcos:</a:t>
            </a:r>
          </a:p>
          <a:p>
            <a:pPr lvl="1" algn="just">
              <a:buFont typeface="Wingdings" panose="05000000000000000000" pitchFamily="2" charset="2"/>
              <a:buChar char="§"/>
              <a:defRPr sz="2400">
                <a:latin typeface="Calibri"/>
              </a:defRPr>
            </a:pPr>
            <a:r>
              <a:rPr lang="es-ES" sz="1600" dirty="0">
                <a:latin typeface="Calibri"/>
              </a:rPr>
              <a:t>Cuatro barcos de eslora 1.</a:t>
            </a:r>
          </a:p>
          <a:p>
            <a:pPr lvl="1" algn="just">
              <a:buFont typeface="Wingdings" panose="05000000000000000000" pitchFamily="2" charset="2"/>
              <a:buChar char="§"/>
              <a:defRPr sz="2400">
                <a:latin typeface="Calibri"/>
              </a:defRPr>
            </a:pPr>
            <a:r>
              <a:rPr lang="es-ES" sz="1600" dirty="0">
                <a:latin typeface="Calibri"/>
              </a:rPr>
              <a:t>Tres barcos de eslora 2.</a:t>
            </a:r>
          </a:p>
          <a:p>
            <a:pPr lvl="1" algn="just">
              <a:buFont typeface="Wingdings" panose="05000000000000000000" pitchFamily="2" charset="2"/>
              <a:buChar char="§"/>
              <a:defRPr sz="2400">
                <a:latin typeface="Calibri"/>
              </a:defRPr>
            </a:pPr>
            <a:r>
              <a:rPr lang="es-ES" sz="1600" dirty="0">
                <a:latin typeface="Calibri"/>
              </a:rPr>
              <a:t>Dos barcos de eslora 3.</a:t>
            </a:r>
          </a:p>
          <a:p>
            <a:pPr lvl="1" algn="just">
              <a:buFont typeface="Wingdings" panose="05000000000000000000" pitchFamily="2" charset="2"/>
              <a:buChar char="§"/>
              <a:defRPr sz="2400">
                <a:latin typeface="Calibri"/>
              </a:defRPr>
            </a:pPr>
            <a:r>
              <a:rPr lang="es-ES" sz="1600" dirty="0">
                <a:latin typeface="Calibri"/>
              </a:rPr>
              <a:t>Un barco de eslora 1.</a:t>
            </a:r>
          </a:p>
          <a:p>
            <a:pPr lvl="1">
              <a:defRPr sz="2400">
                <a:latin typeface="Calibri"/>
              </a:defRPr>
            </a:pPr>
            <a:endParaRPr lang="es-ES" sz="100" dirty="0">
              <a:latin typeface="Calibri"/>
            </a:endParaRPr>
          </a:p>
          <a:p>
            <a:pPr lvl="1">
              <a:defRPr sz="2400">
                <a:latin typeface="Calibri"/>
              </a:defRPr>
            </a:pPr>
            <a:endParaRPr lang="es-ES" sz="800" dirty="0">
              <a:latin typeface="Calibri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A63352F-7ABF-032A-17E6-1BADA322EF06}"/>
              </a:ext>
            </a:extLst>
          </p:cNvPr>
          <p:cNvSpPr txBox="1">
            <a:spLocks/>
          </p:cNvSpPr>
          <p:nvPr/>
        </p:nvSpPr>
        <p:spPr>
          <a:xfrm>
            <a:off x="9661021" y="7091363"/>
            <a:ext cx="7489429" cy="1837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just">
              <a:defRPr sz="2400">
                <a:latin typeface="Calibri"/>
              </a:defRPr>
            </a:pPr>
            <a:r>
              <a:rPr lang="es-ES" sz="2000" dirty="0">
                <a:latin typeface="Calibri"/>
              </a:rPr>
              <a:t>A través del diccionario de la flota contamos las esloras que serían las vidas por jugador.</a:t>
            </a:r>
            <a:endParaRPr lang="es-ES" sz="100" dirty="0">
              <a:latin typeface="Calibri"/>
            </a:endParaRPr>
          </a:p>
          <a:p>
            <a:pPr lvl="1">
              <a:defRPr sz="2400">
                <a:latin typeface="Calibri"/>
              </a:defRPr>
            </a:pPr>
            <a:endParaRPr lang="es-ES" sz="800" dirty="0">
              <a:latin typeface="Calibri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m_HRfLhgABo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412" r="2041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200" indent="0" algn="just">
              <a:buNone/>
              <a:defRPr sz="2400">
                <a:latin typeface="Calibri"/>
              </a:defRPr>
            </a:pPr>
            <a:r>
              <a:rPr lang="es-CO" dirty="0"/>
              <a:t>Para esta función debemos tener presente tres variables que nos influyen sobre la posición de los barcos.</a:t>
            </a:r>
          </a:p>
          <a:p>
            <a:pPr marL="76200" indent="0" algn="just">
              <a:buNone/>
              <a:defRPr sz="2400">
                <a:latin typeface="Calibri"/>
              </a:defRPr>
            </a:pPr>
            <a:endParaRPr lang="es-CO" dirty="0"/>
          </a:p>
          <a:p>
            <a:pPr algn="just">
              <a:lnSpc>
                <a:spcPct val="150000"/>
              </a:lnSpc>
              <a:defRPr sz="2400">
                <a:latin typeface="Calibri"/>
              </a:defRPr>
            </a:pPr>
            <a:r>
              <a:rPr lang="es-CO" dirty="0"/>
              <a:t>Dimensiones del tablero: No salirse de los rangos.</a:t>
            </a:r>
          </a:p>
          <a:p>
            <a:pPr algn="just">
              <a:lnSpc>
                <a:spcPct val="150000"/>
              </a:lnSpc>
              <a:defRPr sz="2400">
                <a:latin typeface="Calibri"/>
              </a:defRPr>
            </a:pPr>
            <a:r>
              <a:rPr lang="es-CO" dirty="0"/>
              <a:t>Choques: Evitar coaliciones entre ellos al momento de posicionarse. </a:t>
            </a:r>
          </a:p>
          <a:p>
            <a:pPr algn="just">
              <a:lnSpc>
                <a:spcPct val="150000"/>
              </a:lnSpc>
              <a:defRPr sz="2400">
                <a:latin typeface="Calibri"/>
              </a:defRPr>
            </a:pPr>
            <a:r>
              <a:rPr lang="es-CO" dirty="0"/>
              <a:t>Adyacencia: Los barcos tengan un espacio de al menos 1 de distancia respecto a los otros barcos.</a:t>
            </a: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dirty="0" err="1"/>
              <a:t>Ubicación</a:t>
            </a:r>
            <a:r>
              <a:rPr dirty="0"/>
              <a:t> de </a:t>
            </a:r>
            <a:r>
              <a:rPr dirty="0" err="1"/>
              <a:t>los</a:t>
            </a:r>
            <a:r>
              <a:rPr dirty="0"/>
              <a:t> </a:t>
            </a:r>
            <a:r>
              <a:rPr dirty="0" err="1"/>
              <a:t>Barcos</a:t>
            </a:r>
            <a:endParaRPr dirty="0"/>
          </a:p>
        </p:txBody>
      </p:sp>
      <p:sp>
        <p:nvSpPr>
          <p:cNvPr id="6" name="Content Placeholder 5" hidden="1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endParaRPr dirty="0">
              <a:hlinkClick r:id="rId3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0D2125A-5E78-6B8B-0E16-54E9FBDB2A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8028" y="3561782"/>
            <a:ext cx="8775943" cy="413441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fPkvU7RDmCo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77895" y="1264858"/>
            <a:ext cx="7489429" cy="3319842"/>
          </a:xfrm>
        </p:spPr>
        <p:txBody>
          <a:bodyPr/>
          <a:lstStyle/>
          <a:p>
            <a:pPr algn="just">
              <a:defRPr sz="2400">
                <a:latin typeface="Calibri"/>
              </a:defRPr>
            </a:pPr>
            <a:r>
              <a:rPr lang="es-CO" dirty="0"/>
              <a:t>Vamos apuntar al tablero máquina.</a:t>
            </a:r>
          </a:p>
          <a:p>
            <a:pPr algn="just">
              <a:defRPr sz="2400">
                <a:latin typeface="Calibri"/>
              </a:defRPr>
            </a:pPr>
            <a:r>
              <a:rPr lang="es-CO" dirty="0"/>
              <a:t>Que entre en un bucle si acierta y si falla que salga para que le toque su turno a la máquina</a:t>
            </a:r>
            <a:r>
              <a:rPr dirty="0"/>
              <a:t>.</a:t>
            </a:r>
            <a:endParaRPr lang="es-CO" dirty="0"/>
          </a:p>
          <a:p>
            <a:pPr algn="just">
              <a:defRPr sz="2400">
                <a:latin typeface="Calibri"/>
              </a:defRPr>
            </a:pPr>
            <a:r>
              <a:rPr lang="es-CO" dirty="0"/>
              <a:t>Marcar casillas donde haya disparado el jugador, el tablero de la máquina se actualiza.</a:t>
            </a:r>
          </a:p>
          <a:p>
            <a:pPr algn="just">
              <a:defRPr sz="2400">
                <a:latin typeface="Calibri"/>
              </a:defRPr>
            </a:pPr>
            <a:r>
              <a:rPr lang="es-CO" dirty="0"/>
              <a:t>Verificar que le reste vidas a la competencia para finalizar el juego.</a:t>
            </a: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777896" y="542521"/>
            <a:ext cx="7489429" cy="1444675"/>
          </a:xfrm>
        </p:spPr>
        <p:txBody>
          <a:bodyPr/>
          <a:lstStyle/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CO" dirty="0"/>
              <a:t>Disparo Jugador</a:t>
            </a:r>
            <a:endParaRPr dirty="0"/>
          </a:p>
        </p:txBody>
      </p:sp>
      <p:sp>
        <p:nvSpPr>
          <p:cNvPr id="6" name="Content Placeholder 5" hidden="1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endParaRPr dirty="0">
              <a:hlinkClick r:id="rId3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7BFF"/>
          </a:solidFill>
        </p:spPr>
        <p:txBody>
          <a:bodyPr/>
          <a:lstStyle/>
          <a:p>
            <a:endParaRPr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AE752E1-3717-48ED-2EEF-EB99D94611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900" y="237721"/>
            <a:ext cx="6481379" cy="4651779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6F87150A-6B54-EE70-CF60-BA0A397AAA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7900" y="5164187"/>
            <a:ext cx="6426200" cy="4975123"/>
          </a:xfrm>
          <a:prstGeom prst="rect">
            <a:avLst/>
          </a:prstGeo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50022E91-ADF5-DCB2-3E94-93766F360F35}"/>
              </a:ext>
            </a:extLst>
          </p:cNvPr>
          <p:cNvSpPr txBox="1">
            <a:spLocks/>
          </p:cNvSpPr>
          <p:nvPr/>
        </p:nvSpPr>
        <p:spPr>
          <a:xfrm>
            <a:off x="10001154" y="4889500"/>
            <a:ext cx="7489429" cy="1444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CO" sz="3200" dirty="0">
                <a:solidFill>
                  <a:srgbClr val="007BFF"/>
                </a:solidFill>
                <a:latin typeface="Calibri"/>
              </a:rPr>
              <a:t>Disparo Máquina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38704EE-9B83-1AF2-0B21-3F45D970F978}"/>
              </a:ext>
            </a:extLst>
          </p:cNvPr>
          <p:cNvSpPr txBox="1">
            <a:spLocks/>
          </p:cNvSpPr>
          <p:nvPr/>
        </p:nvSpPr>
        <p:spPr>
          <a:xfrm>
            <a:off x="9668729" y="5611837"/>
            <a:ext cx="7489429" cy="3319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algn="just">
              <a:defRPr sz="2400">
                <a:latin typeface="Calibri"/>
              </a:defRPr>
            </a:pPr>
            <a:r>
              <a:rPr lang="es-ES" sz="2400" dirty="0">
                <a:latin typeface="Calibri"/>
              </a:rPr>
              <a:t>Vamos a apuntar al tablero del Jugador.</a:t>
            </a:r>
          </a:p>
          <a:p>
            <a:pPr algn="just">
              <a:defRPr sz="2400">
                <a:latin typeface="Calibri"/>
              </a:defRPr>
            </a:pPr>
            <a:r>
              <a:rPr lang="es-ES" sz="2400" dirty="0">
                <a:latin typeface="Calibri"/>
              </a:rPr>
              <a:t>A diferencia la máquina tiene que tomar dos coordenadas aleatorias para hacer su disparo.</a:t>
            </a:r>
          </a:p>
          <a:p>
            <a:pPr algn="just">
              <a:defRPr sz="2400">
                <a:latin typeface="Calibri"/>
              </a:defRPr>
            </a:pPr>
            <a:r>
              <a:rPr lang="es-ES" sz="2400" dirty="0">
                <a:latin typeface="Calibri"/>
              </a:rPr>
              <a:t>Igual que las anteriores características mencionadas en el disparo del jugador se deben cumplir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OykDIkZLQw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4486" r="14486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9318" y="2433918"/>
            <a:ext cx="7529186" cy="5871882"/>
          </a:xfrm>
        </p:spPr>
        <p:txBody>
          <a:bodyPr>
            <a:normAutofit fontScale="70000" lnSpcReduction="20000"/>
          </a:bodyPr>
          <a:lstStyle/>
          <a:p>
            <a:pPr algn="just">
              <a:defRPr sz="2400">
                <a:latin typeface="Calibri"/>
              </a:defRPr>
            </a:pPr>
            <a:endParaRPr lang="es-CO" dirty="0"/>
          </a:p>
          <a:p>
            <a:pPr algn="just">
              <a:defRPr sz="2400">
                <a:latin typeface="Calibri"/>
              </a:defRPr>
            </a:pPr>
            <a:r>
              <a:rPr lang="es-CO" dirty="0"/>
              <a:t>Como mucha de las funciones sirven para ambos jugadores, se les denomina con una variable única.</a:t>
            </a:r>
          </a:p>
          <a:p>
            <a:pPr algn="just">
              <a:defRPr sz="2400">
                <a:latin typeface="Calibri"/>
              </a:defRPr>
            </a:pPr>
            <a:r>
              <a:rPr lang="es-CO" dirty="0"/>
              <a:t>Estas variables se invocan para crear un juego dinámico.</a:t>
            </a:r>
          </a:p>
          <a:p>
            <a:pPr algn="just">
              <a:defRPr sz="2400">
                <a:latin typeface="Calibri"/>
              </a:defRPr>
            </a:pPr>
            <a:endParaRPr lang="es-CO" dirty="0"/>
          </a:p>
          <a:p>
            <a:pPr algn="just">
              <a:defRPr sz="2400">
                <a:latin typeface="Calibri"/>
              </a:defRPr>
            </a:pPr>
            <a:endParaRPr lang="es-CO" dirty="0"/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tablero_jugador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crear_tablero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tablero_maquina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crear_tablero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barcos_jugador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crear_barcos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barcos_maquina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crear_barcos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vidas_jugador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vidas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vidas_maquina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vidas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posicion_jugador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posicionar_barcos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r>
              <a:rPr lang="es-ES" b="0" dirty="0" err="1">
                <a:solidFill>
                  <a:srgbClr val="9CDCFE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posicion_maquina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>
                <a:solidFill>
                  <a:srgbClr val="D4D4D4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=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 </a:t>
            </a:r>
            <a:r>
              <a:rPr lang="es-ES" b="0" dirty="0" err="1">
                <a:solidFill>
                  <a:srgbClr val="DCDCAA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posicionar_barcos</a:t>
            </a:r>
            <a: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  <a:t>()</a:t>
            </a:r>
          </a:p>
          <a:p>
            <a:pPr marL="76200" indent="0">
              <a:buNone/>
            </a:pPr>
            <a:br>
              <a:rPr lang="es-ES" b="0" dirty="0">
                <a:solidFill>
                  <a:srgbClr val="FFFFFF"/>
                </a:solidFill>
                <a:effectLst/>
                <a:highlight>
                  <a:srgbClr val="000000"/>
                </a:highlight>
                <a:latin typeface="Consolas" panose="020B0609020204030204" pitchFamily="49" charset="0"/>
              </a:rPr>
            </a:br>
            <a:endParaRPr lang="es-ES" b="0" dirty="0">
              <a:solidFill>
                <a:srgbClr val="FFFFFF"/>
              </a:solidFill>
              <a:effectLst/>
              <a:highlight>
                <a:srgbClr val="000000"/>
              </a:highlight>
              <a:latin typeface="Consolas" panose="020B0609020204030204" pitchFamily="49" charset="0"/>
            </a:endParaRPr>
          </a:p>
          <a:p>
            <a:pPr algn="just">
              <a:defRPr sz="2400">
                <a:latin typeface="Calibri"/>
              </a:defRPr>
            </a:pPr>
            <a:endParaRPr dirty="0"/>
          </a:p>
        </p:txBody>
      </p:sp>
      <p:sp>
        <p:nvSpPr>
          <p:cNvPr id="6" name="Content Placeholder 5" hidden="1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40000" lnSpcReduction="20000"/>
          </a:bodyPr>
          <a:lstStyle/>
          <a:p>
            <a:r>
              <a:rPr>
                <a:hlinkClick r:id="rId3"/>
              </a:rPr>
              <a:t>Photo: turned on MacBook Air on desk</a:t>
            </a:r>
          </a:p>
          <a:p>
            <a:r>
              <a:rPr>
                <a:hlinkClick r:id="rId4"/>
              </a:rPr>
              <a:t>Photo by Goran Ivos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15B556DB-0FB2-C296-8414-0CBA119112AF}"/>
              </a:ext>
            </a:extLst>
          </p:cNvPr>
          <p:cNvSpPr txBox="1">
            <a:spLocks/>
          </p:cNvSpPr>
          <p:nvPr/>
        </p:nvSpPr>
        <p:spPr>
          <a:xfrm>
            <a:off x="919075" y="780548"/>
            <a:ext cx="7489429" cy="669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ES" sz="2900" u="sng" dirty="0">
                <a:solidFill>
                  <a:srgbClr val="007BFF"/>
                </a:solidFill>
                <a:latin typeface="Calibri"/>
              </a:rPr>
              <a:t>Paso 2: </a:t>
            </a:r>
            <a:r>
              <a:rPr lang="es-CO" sz="3200" u="sng" dirty="0"/>
              <a:t>Invocar las funciones </a:t>
            </a:r>
            <a:br>
              <a:rPr lang="es-ES" sz="2900" u="sng" dirty="0">
                <a:solidFill>
                  <a:srgbClr val="007BFF"/>
                </a:solidFill>
                <a:latin typeface="Calibri"/>
              </a:rPr>
            </a:br>
            <a:br>
              <a:rPr lang="es-ES" sz="2900" u="sng" dirty="0">
                <a:solidFill>
                  <a:srgbClr val="007BFF"/>
                </a:solidFill>
                <a:latin typeface="Calibri"/>
              </a:rPr>
            </a:br>
            <a:endParaRPr lang="es-ES" sz="2900" u="sng" dirty="0">
              <a:solidFill>
                <a:srgbClr val="007BFF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75" y="2277035"/>
            <a:ext cx="8402726" cy="7324190"/>
          </a:xfrm>
        </p:spPr>
        <p:txBody>
          <a:bodyPr/>
          <a:lstStyle/>
          <a:p>
            <a:pPr>
              <a:defRPr sz="2400">
                <a:latin typeface="Calibri"/>
              </a:defRPr>
            </a:pPr>
            <a:r>
              <a:rPr lang="es-CO" dirty="0"/>
              <a:t>En la primera parte del juego aparecen los tableros y las características de cada jugador.</a:t>
            </a:r>
          </a:p>
          <a:p>
            <a:pPr>
              <a:defRPr sz="2400">
                <a:latin typeface="Calibri"/>
              </a:defRPr>
            </a:pPr>
            <a:r>
              <a:rPr lang="es-CO" dirty="0"/>
              <a:t>Amarillo para el Jugador.</a:t>
            </a:r>
          </a:p>
          <a:p>
            <a:pPr>
              <a:defRPr sz="2400">
                <a:latin typeface="Calibri"/>
              </a:defRPr>
            </a:pPr>
            <a:r>
              <a:rPr lang="es-CO" dirty="0"/>
              <a:t>Rojo para la máquina.</a:t>
            </a:r>
            <a:endParaRPr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1000" y="1028700"/>
            <a:ext cx="8402727" cy="981900"/>
          </a:xfrm>
        </p:spPr>
        <p:txBody>
          <a:bodyPr>
            <a:normAutofit/>
          </a:bodyPr>
          <a:lstStyle/>
          <a:p>
            <a:pPr algn="ctr">
              <a:defRPr sz="3200">
                <a:solidFill>
                  <a:srgbClr val="007BFF"/>
                </a:solidFill>
                <a:latin typeface="Calibri"/>
              </a:defRPr>
            </a:pPr>
            <a:r>
              <a:rPr lang="es-ES" sz="2900" u="sng" dirty="0"/>
              <a:t>Paso 3: Jugar una partida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7BFF"/>
          </a:solidFill>
        </p:spPr>
        <p:txBody>
          <a:bodyPr/>
          <a:lstStyle/>
          <a:p>
            <a:endParaRPr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2E9E302-01A4-7925-1C12-4300EE729B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0739" y="447898"/>
            <a:ext cx="7993707" cy="8810402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5112902-36FF-F61D-41E0-A7B97ECB34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03374" y="3056205"/>
            <a:ext cx="13968341" cy="2544495"/>
          </a:xfrm>
        </p:spPr>
        <p:txBody>
          <a:bodyPr/>
          <a:lstStyle/>
          <a:p>
            <a:pPr marL="76200" indent="0" algn="ctr">
              <a:buNone/>
            </a:pPr>
            <a:r>
              <a:rPr lang="es-CO" sz="6000" dirty="0">
                <a:latin typeface="+mj-lt"/>
              </a:rPr>
              <a:t>Muchas gracias.</a:t>
            </a:r>
            <a:endParaRPr lang="es-ES" dirty="0">
              <a:latin typeface="+mj-lt"/>
            </a:endParaRP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14EF4D7F-CE83-844A-FDF2-547CF7CDD14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6935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ería">
  <a:themeElements>
    <a:clrScheme name="Galería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ería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ería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ería]]</Template>
  <TotalTime>993</TotalTime>
  <Words>608</Words>
  <Application>Microsoft Office PowerPoint</Application>
  <PresentationFormat>Personalizado</PresentationFormat>
  <Paragraphs>81</Paragraphs>
  <Slides>9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8" baseType="lpstr">
      <vt:lpstr>Wingdings</vt:lpstr>
      <vt:lpstr>Consolas</vt:lpstr>
      <vt:lpstr>Raleway</vt:lpstr>
      <vt:lpstr>Roboto Light</vt:lpstr>
      <vt:lpstr>Calibri</vt:lpstr>
      <vt:lpstr>Arial</vt:lpstr>
      <vt:lpstr>Gill Sans MT</vt:lpstr>
      <vt:lpstr>Galería</vt:lpstr>
      <vt:lpstr>think-cell Slide</vt:lpstr>
      <vt:lpstr>Introducción</vt:lpstr>
      <vt:lpstr>Estructura del Código</vt:lpstr>
      <vt:lpstr>Librería y módulos Utilizados</vt:lpstr>
      <vt:lpstr>Paso 1: Creación de las Funciones  </vt:lpstr>
      <vt:lpstr>Ubicación de los Barcos</vt:lpstr>
      <vt:lpstr>Disparo Jugador</vt:lpstr>
      <vt:lpstr>Presentación de PowerPoint</vt:lpstr>
      <vt:lpstr>Paso 3: Jugar una partida.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Victor Pretelt</dc:creator>
  <cp:lastModifiedBy>Victor Pretelt</cp:lastModifiedBy>
  <cp:revision>70</cp:revision>
  <dcterms:modified xsi:type="dcterms:W3CDTF">2024-04-08T16:33:56Z</dcterms:modified>
</cp:coreProperties>
</file>